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9"/>
  </p:notesMasterIdLst>
  <p:handoutMasterIdLst>
    <p:handoutMasterId r:id="rId20"/>
  </p:handoutMasterIdLst>
  <p:sldIdLst>
    <p:sldId id="311" r:id="rId4"/>
    <p:sldId id="340" r:id="rId5"/>
    <p:sldId id="366" r:id="rId6"/>
    <p:sldId id="373" r:id="rId7"/>
    <p:sldId id="376" r:id="rId8"/>
    <p:sldId id="383" r:id="rId9"/>
    <p:sldId id="382" r:id="rId10"/>
    <p:sldId id="384" r:id="rId11"/>
    <p:sldId id="385" r:id="rId12"/>
    <p:sldId id="386" r:id="rId13"/>
    <p:sldId id="387" r:id="rId14"/>
    <p:sldId id="388" r:id="rId15"/>
    <p:sldId id="389" r:id="rId16"/>
    <p:sldId id="329" r:id="rId17"/>
    <p:sldId id="349" r:id="rId18"/>
  </p:sldIdLst>
  <p:sldSz cx="9906000" cy="6858000" type="A4"/>
  <p:notesSz cx="6896100" cy="10033000"/>
  <p:custDataLst>
    <p:tags r:id="rId21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83" d="100"/>
          <a:sy n="83" d="100"/>
        </p:scale>
        <p:origin x="-1454" y="-6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3/16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4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Excercise2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60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9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184478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</a:t>
            </a:r>
            <a:r>
              <a:rPr lang="en-US" sz="5400" dirty="0" err="1" smtClean="0">
                <a:effectLst/>
                <a:latin typeface="Comic Sans MS"/>
              </a:rPr>
              <a:t>Zadanie</a:t>
            </a:r>
            <a:r>
              <a:rPr lang="en-US" sz="4400" dirty="0" smtClean="0">
                <a:effectLst/>
                <a:latin typeface="Comic Sans MS"/>
              </a:rPr>
              <a:t> </a:t>
            </a:r>
            <a:r>
              <a:rPr lang="pl-PL" sz="4400" dirty="0" smtClean="0">
                <a:effectLst/>
                <a:latin typeface="Comic Sans MS"/>
              </a:rPr>
              <a:t>2</a:t>
            </a:r>
            <a:endParaRPr lang="en-GB" dirty="0"/>
          </a:p>
        </p:txBody>
      </p:sp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72350" y="5373270"/>
            <a:ext cx="3024420" cy="1017562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sp>
        <p:nvSpPr>
          <p:cNvPr id="11" name="Title 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-303730" y="2420860"/>
            <a:ext cx="9906000" cy="1944270"/>
          </a:xfrm>
          <a:prstGeom prst="rect">
            <a:avLst/>
          </a:prstGeom>
        </p:spPr>
        <p:txBody>
          <a:bodyPr vert="horz" lIns="36000" tIns="36000" rIns="360000" bIns="36000" rtlCol="0" anchor="ctr">
            <a:noAutofit/>
          </a:bodyPr>
          <a:lstStyle/>
          <a:p>
            <a:pPr marL="0" marR="0" lvl="0" indent="0" algn="l" defTabSz="9956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6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      </a:t>
            </a:r>
            <a:r>
              <a:rPr kumimoji="0" lang="pl-PL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Nasza pierwsza gra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omic Sans MS" pitchFamily="66" charset="0"/>
              <a:ea typeface="+mj-ea"/>
              <a:cs typeface="+mj-cs"/>
            </a:endParaRPr>
          </a:p>
        </p:txBody>
      </p:sp>
      <p:pic>
        <p:nvPicPr>
          <p:cNvPr id="8" name="Picture 4" descr="Warsztat 6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689380" y="4365130"/>
            <a:ext cx="1828800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7. Dodajemy pszczołę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568530" y="2420860"/>
            <a:ext cx="6739796" cy="2179031"/>
          </a:xfr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8. Dodajemy kod dla pszczoły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pic>
        <p:nvPicPr>
          <p:cNvPr id="9" name="Content Placeholder 8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3224760" y="1700760"/>
            <a:ext cx="3236692" cy="3167828"/>
          </a:xfr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9. Zmieniamy kod kot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3296770" y="1556740"/>
            <a:ext cx="3359395" cy="4322941"/>
          </a:xfr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10. Działa?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3082128" y="1534120"/>
            <a:ext cx="3741744" cy="4572397"/>
          </a:xfr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Wskazówki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21728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32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konaj wszystkie ćwiczenia krok po kroku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32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eśli </a:t>
            </a:r>
            <a:r>
              <a:rPr lang="pl-PL" sz="32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trzebujesz pomocy, poproś prowadzącego.</a:t>
            </a:r>
            <a:endParaRPr lang="de-DE" sz="32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6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160890" y="486920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</a:t>
            </a:r>
            <a:r>
              <a:rPr lang="pl-PL" dirty="0" smtClean="0"/>
              <a:t>Usuń istniejącego duszka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3" name="Picture 12" descr="dd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16620" y="1844780"/>
            <a:ext cx="5832810" cy="362427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3. Nazwij duszk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488380" y="2132820"/>
            <a:ext cx="4090482" cy="2808390"/>
          </a:xfrm>
        </p:spPr>
      </p:pic>
      <p:pic>
        <p:nvPicPr>
          <p:cNvPr id="8" name="Picture 7" descr="d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8979" y="2132820"/>
            <a:ext cx="4444775" cy="280839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2. Dodaj „ciasteczko”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pic>
        <p:nvPicPr>
          <p:cNvPr id="9" name="Content Placeholder 8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2000590" y="1988800"/>
            <a:ext cx="5936971" cy="2661823"/>
          </a:xfr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3. Tworzymy zmienną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3656820" y="1340710"/>
            <a:ext cx="2263231" cy="4484550"/>
          </a:xfr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4. Piszemy kod dla kot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pic>
        <p:nvPicPr>
          <p:cNvPr id="9" name="Content Placeholder 8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2936720" y="1700760"/>
            <a:ext cx="3810507" cy="3520735"/>
          </a:xfr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5. Piszemy kod dla „ciasteczka”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2072600" y="1844780"/>
            <a:ext cx="5449248" cy="2901835"/>
          </a:xfr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6. Testujemy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3080741" y="1290654"/>
            <a:ext cx="3588264" cy="4848209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64</Words>
  <Application>Microsoft Office PowerPoint</Application>
  <PresentationFormat>A4 Paper (210x297 mm)</PresentationFormat>
  <Paragraphs>56</Paragraphs>
  <Slides>15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Blank</vt:lpstr>
      <vt:lpstr>Closing slides</vt:lpstr>
      <vt:lpstr>Section break</vt:lpstr>
      <vt:lpstr>think-cell Slide</vt:lpstr>
      <vt:lpstr>       Zadanie 2</vt:lpstr>
      <vt:lpstr>Wskazówki</vt:lpstr>
      <vt:lpstr>Krok 1. Usuń istniejącego duszka</vt:lpstr>
      <vt:lpstr>Krok 3. Nazwij duszka</vt:lpstr>
      <vt:lpstr>Krok 2. Dodaj „ciasteczko”</vt:lpstr>
      <vt:lpstr>Krok 3. Tworzymy zmienną</vt:lpstr>
      <vt:lpstr>Krok 4. Piszemy kod dla kota</vt:lpstr>
      <vt:lpstr>Krok 5. Piszemy kod dla „ciasteczka”</vt:lpstr>
      <vt:lpstr>Krok 6. Testujemy</vt:lpstr>
      <vt:lpstr>Krok 7. Dodajemy pszczołę</vt:lpstr>
      <vt:lpstr>Krok 8. Dodajemy kod dla pszczoły</vt:lpstr>
      <vt:lpstr>Krok 9. Zmieniamy kod kota</vt:lpstr>
      <vt:lpstr>Krok 10. Działa?</vt:lpstr>
      <vt:lpstr>Slide 14</vt:lpstr>
      <vt:lpstr>Slide 15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ZPACHOLC</cp:lastModifiedBy>
  <cp:revision>128</cp:revision>
  <dcterms:created xsi:type="dcterms:W3CDTF">2014-10-21T19:55:20Z</dcterms:created>
  <dcterms:modified xsi:type="dcterms:W3CDTF">2015-03-16T22:16:22Z</dcterms:modified>
</cp:coreProperties>
</file>